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1"/>
    <p:sldMasterId id="2147483957" r:id="rId2"/>
    <p:sldMasterId id="2147483982" r:id="rId3"/>
  </p:sldMasterIdLst>
  <p:notesMasterIdLst>
    <p:notesMasterId r:id="rId32"/>
  </p:notesMasterIdLst>
  <p:handoutMasterIdLst>
    <p:handoutMasterId r:id="rId33"/>
  </p:handoutMasterIdLst>
  <p:sldIdLst>
    <p:sldId id="804" r:id="rId4"/>
    <p:sldId id="807" r:id="rId5"/>
    <p:sldId id="863" r:id="rId6"/>
    <p:sldId id="864" r:id="rId7"/>
    <p:sldId id="865" r:id="rId8"/>
    <p:sldId id="866" r:id="rId9"/>
    <p:sldId id="867" r:id="rId10"/>
    <p:sldId id="869" r:id="rId11"/>
    <p:sldId id="870" r:id="rId12"/>
    <p:sldId id="871" r:id="rId13"/>
    <p:sldId id="872" r:id="rId14"/>
    <p:sldId id="874" r:id="rId15"/>
    <p:sldId id="875" r:id="rId16"/>
    <p:sldId id="876" r:id="rId17"/>
    <p:sldId id="877" r:id="rId18"/>
    <p:sldId id="878" r:id="rId19"/>
    <p:sldId id="880" r:id="rId20"/>
    <p:sldId id="881" r:id="rId21"/>
    <p:sldId id="879" r:id="rId22"/>
    <p:sldId id="882" r:id="rId23"/>
    <p:sldId id="883" r:id="rId24"/>
    <p:sldId id="884" r:id="rId25"/>
    <p:sldId id="885" r:id="rId26"/>
    <p:sldId id="887" r:id="rId27"/>
    <p:sldId id="888" r:id="rId28"/>
    <p:sldId id="889" r:id="rId29"/>
    <p:sldId id="893" r:id="rId30"/>
    <p:sldId id="894" r:id="rId31"/>
  </p:sldIdLst>
  <p:sldSz cx="9144000" cy="6858000" type="screen4x3"/>
  <p:notesSz cx="9944100" cy="6805613"/>
  <p:custDataLst>
    <p:tags r:id="rId34"/>
  </p:custDataLst>
  <p:defaultTextStyle>
    <a:defPPr>
      <a:defRPr lang="pt-P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1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599D"/>
    <a:srgbClr val="003964"/>
    <a:srgbClr val="3399FF"/>
    <a:srgbClr val="0000F6"/>
    <a:srgbClr val="6699FF"/>
    <a:srgbClr val="000099"/>
    <a:srgbClr val="BBE0E3"/>
    <a:srgbClr val="0066FF"/>
    <a:srgbClr val="0066CC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com Tema 1 - Destaqu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98" autoAdjust="0"/>
    <p:restoredTop sz="90292" autoAdjust="0"/>
  </p:normalViewPr>
  <p:slideViewPr>
    <p:cSldViewPr>
      <p:cViewPr>
        <p:scale>
          <a:sx n="100" d="100"/>
          <a:sy n="100" d="100"/>
        </p:scale>
        <p:origin x="-1614" y="-156"/>
      </p:cViewPr>
      <p:guideLst>
        <p:guide orient="horz" pos="2160"/>
        <p:guide pos="1927"/>
      </p:guideLst>
    </p:cSldViewPr>
  </p:slideViewPr>
  <p:outlineViewPr>
    <p:cViewPr>
      <p:scale>
        <a:sx n="33" d="100"/>
        <a:sy n="33" d="100"/>
      </p:scale>
      <p:origin x="0" y="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>
      <p:cViewPr varScale="1">
        <p:scale>
          <a:sx n="112" d="100"/>
          <a:sy n="112" d="100"/>
        </p:scale>
        <p:origin x="-1386" y="-84"/>
      </p:cViewPr>
      <p:guideLst>
        <p:guide orient="horz" pos="2144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quarter" idx="1"/>
          </p:nvPr>
        </p:nvSpPr>
        <p:spPr>
          <a:xfrm>
            <a:off x="5631592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6570D1F-F53A-47BB-B9E1-AEB5064B4EC8}" type="datetimeFigureOut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2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3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B034522-BD01-4D0F-85B3-C949D0A87854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4889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5631592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758B59-7ABB-44B0-A273-AAF7D61C4F29}" type="datetimeFigureOut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3271838" y="509588"/>
            <a:ext cx="3400425" cy="2551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10" tIns="45755" rIns="91510" bIns="45755" rtlCol="0" anchor="ctr"/>
          <a:lstStyle/>
          <a:p>
            <a:pPr lvl="0"/>
            <a:endParaRPr lang="pt-PT" noProof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993951" y="3232478"/>
            <a:ext cx="7956209" cy="3062689"/>
          </a:xfrm>
          <a:prstGeom prst="rect">
            <a:avLst/>
          </a:prstGeom>
        </p:spPr>
        <p:txBody>
          <a:bodyPr vert="horz" lIns="91510" tIns="45755" rIns="91510" bIns="45755" rtlCol="0"/>
          <a:lstStyle/>
          <a:p>
            <a:pPr lvl="0"/>
            <a:r>
              <a:rPr lang="pt-PT" noProof="0" smtClean="0"/>
              <a:t>Clique para editar os estilos</a:t>
            </a:r>
          </a:p>
          <a:p>
            <a:pPr lvl="1"/>
            <a:r>
              <a:rPr lang="pt-PT" noProof="0" smtClean="0"/>
              <a:t>Segundo nível</a:t>
            </a:r>
          </a:p>
          <a:p>
            <a:pPr lvl="2"/>
            <a:r>
              <a:rPr lang="pt-PT" noProof="0" smtClean="0"/>
              <a:t>Terceiro nível</a:t>
            </a:r>
          </a:p>
          <a:p>
            <a:pPr lvl="3"/>
            <a:r>
              <a:rPr lang="pt-PT" noProof="0" smtClean="0"/>
              <a:t>Quarto nível</a:t>
            </a:r>
          </a:p>
          <a:p>
            <a:pPr lvl="4"/>
            <a:r>
              <a:rPr lang="pt-PT" noProof="0" smtClean="0"/>
              <a:t>Quinto nível</a:t>
            </a:r>
            <a:endParaRPr lang="pt-PT" noProof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B58183E-1D2E-4038-894F-FD5E68A95E7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291942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84646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900" b="0" dirty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06289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00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75772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742314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9718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B9AF7-E94D-4B64-9C01-C510889F3DF9}" type="slidenum">
              <a:rPr lang="pt-PT" smtClean="0"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093387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PT" sz="1100" i="0" dirty="0" smtClean="0">
                <a:effectLst/>
                <a:latin typeface="+mn-lt"/>
                <a:ea typeface="Calibri"/>
                <a:cs typeface="Times New Roman"/>
              </a:rPr>
              <a:t>Comissão europeia, Índice de Digitalidade da Economia e da Sociedade, </a:t>
            </a:r>
            <a:r>
              <a:rPr lang="pt-PT" sz="1100" i="0" dirty="0" smtClean="0">
                <a:effectLst/>
                <a:latin typeface="+mn-lt"/>
                <a:ea typeface="Calibri"/>
                <a:cs typeface="Times New Roman"/>
              </a:rPr>
              <a:t>2019</a:t>
            </a:r>
            <a:endParaRPr lang="pt-PT" sz="1100" i="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66145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215" indent="-450215" algn="just">
              <a:lnSpc>
                <a:spcPct val="115000"/>
              </a:lnSpc>
              <a:spcAft>
                <a:spcPts val="300"/>
              </a:spcAft>
            </a:pPr>
            <a:endParaRPr lang="pt-PT" sz="100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221555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741296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i="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14448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 sz="1000" dirty="0" smtClean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065065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 sz="900" b="1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83491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b="0" i="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B9AF7-E94D-4B64-9C01-C510889F3DF9}" type="slidenum">
              <a:rPr lang="pt-PT" smtClean="0"/>
              <a:t>2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437639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573919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123024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27897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b="1" dirty="0" smtClean="0"/>
              <a:t>Compete 2020</a:t>
            </a:r>
            <a:r>
              <a:rPr lang="pt-PT" dirty="0" smtClean="0"/>
              <a:t>: Orientado para promover a Competitividade e Internacionalização das empresas portuguesas,</a:t>
            </a:r>
            <a:r>
              <a:rPr lang="pt-PT" baseline="0" dirty="0" smtClean="0"/>
              <a:t> designadamente a sua vocação exportadora.</a:t>
            </a:r>
          </a:p>
          <a:p>
            <a:endParaRPr lang="pt-PT" baseline="0" dirty="0" smtClean="0"/>
          </a:p>
          <a:p>
            <a:r>
              <a:rPr lang="pt-PT" b="1" baseline="0" dirty="0" err="1" smtClean="0"/>
              <a:t>CITec</a:t>
            </a:r>
            <a:r>
              <a:rPr lang="pt-PT" baseline="0" dirty="0" smtClean="0"/>
              <a:t>: visa promover a transferência de conhecimento de Universidades e Centros de Tecnológicos e de </a:t>
            </a:r>
            <a:r>
              <a:rPr lang="pt-PT" i="1" baseline="0" dirty="0" smtClean="0"/>
              <a:t>Investigação </a:t>
            </a:r>
            <a:r>
              <a:rPr lang="pt-PT" i="0" baseline="0" dirty="0" smtClean="0"/>
              <a:t>para a as Empresas</a:t>
            </a:r>
            <a:endParaRPr lang="pt-PT" i="0" dirty="0" smtClean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916714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b="1" dirty="0" smtClean="0"/>
              <a:t>Portugal INCoDE.2030:</a:t>
            </a:r>
            <a:r>
              <a:rPr lang="pt-PT" b="1" baseline="0" dirty="0" smtClean="0"/>
              <a:t> </a:t>
            </a:r>
            <a:r>
              <a:rPr lang="pt-PT" baseline="0" dirty="0" smtClean="0"/>
              <a:t>direcionada para o desenvolvimento de competências digitais, quer em termos globais de literacia digital, quer em termos de qualificação profissional promoção do emprego em áreas de tecnologia digital</a:t>
            </a:r>
          </a:p>
          <a:p>
            <a:endParaRPr lang="pt-PT" baseline="0" dirty="0" smtClean="0"/>
          </a:p>
          <a:p>
            <a:r>
              <a:rPr lang="pt-PT" b="1" baseline="0" dirty="0" err="1" smtClean="0"/>
              <a:t>FITEC</a:t>
            </a:r>
            <a:r>
              <a:rPr lang="pt-PT" baseline="0" dirty="0" smtClean="0"/>
              <a:t>: direciona-se para a Economia circular, promovendo atividades cooperação </a:t>
            </a:r>
            <a:r>
              <a:rPr lang="pt-PT" baseline="0" dirty="0" err="1" smtClean="0"/>
              <a:t>inter-institucional</a:t>
            </a:r>
            <a:r>
              <a:rPr lang="pt-PT" baseline="0" dirty="0" smtClean="0"/>
              <a:t> e de </a:t>
            </a:r>
            <a:r>
              <a:rPr lang="pt-PT" baseline="0" dirty="0" err="1" smtClean="0"/>
              <a:t>I&amp;D</a:t>
            </a:r>
            <a:r>
              <a:rPr lang="pt-PT" baseline="0" dirty="0" smtClean="0"/>
              <a:t> afins</a:t>
            </a:r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405452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b="1" dirty="0" smtClean="0"/>
              <a:t>Estratégia Nacional para a 4ª Revolução Industrial: </a:t>
            </a:r>
          </a:p>
          <a:p>
            <a:endParaRPr lang="pt-PT" b="1" dirty="0" smtClean="0"/>
          </a:p>
          <a:p>
            <a:r>
              <a:rPr lang="pt-PT" b="1" dirty="0" smtClean="0"/>
              <a:t>Vale i4.0:</a:t>
            </a:r>
            <a:r>
              <a:rPr lang="pt-PT" b="1" baseline="0" dirty="0" smtClean="0"/>
              <a:t> </a:t>
            </a:r>
            <a:r>
              <a:rPr lang="pt-PT" b="0" baseline="0" dirty="0" smtClean="0"/>
              <a:t>destina-se a apoiar a digitalização das empresas</a:t>
            </a:r>
            <a:endParaRPr lang="pt-PT" b="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2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38467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C73993-5440-40C7-913A-B68D82F2CCB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3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32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18299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891176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8909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74036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27937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PT" sz="1100" dirty="0" smtClean="0"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/>
              <a:pPr>
                <a:defRPr/>
              </a:pPr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0732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76272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8862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52347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524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47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1943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43576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8991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9458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5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60071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48353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81875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420483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5086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2994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8582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286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4066779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9900927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6084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54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4368053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6952960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1702929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3640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548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351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65094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03900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3214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217113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782193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38193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826993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19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57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023284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56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622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nuno.tavares@gee.gov.pt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88986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4" y="1796065"/>
            <a:ext cx="9144000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PT" sz="40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conomia Portuguesa:</a:t>
            </a:r>
          </a:p>
          <a:p>
            <a:pPr algn="ctr" eaLnBrk="1" hangingPunct="1"/>
            <a:r>
              <a:rPr lang="pt-PT" sz="2800" b="1" dirty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Inovação e Transformação Digital</a:t>
            </a: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4" y="5025688"/>
            <a:ext cx="9143996" cy="13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ts val="600"/>
              </a:spcBef>
            </a:pP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Gabinete de Estratégia e Estudos (GEE), Ministério da Economia</a:t>
            </a:r>
          </a:p>
          <a:p>
            <a:pPr algn="r" eaLnBrk="1" hangingPunct="1">
              <a:spcBef>
                <a:spcPts val="600"/>
              </a:spcBef>
            </a:pP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Strated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and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Studies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Office, Portuguese </a:t>
            </a: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Ministr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of</a:t>
            </a:r>
            <a:r>
              <a:rPr lang="pt-PT" sz="1400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1400" b="1" i="1" dirty="0" err="1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Economy</a:t>
            </a:r>
            <a:endParaRPr lang="pt-PT" sz="14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  <a:p>
            <a:pPr algn="r" eaLnBrk="1" hangingPunct="1">
              <a:spcBef>
                <a:spcPts val="600"/>
              </a:spcBef>
            </a:pP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Novembro de 2019</a:t>
            </a:r>
          </a:p>
          <a:p>
            <a:pPr algn="r" eaLnBrk="1" hangingPunct="1">
              <a:spcBef>
                <a:spcPts val="600"/>
              </a:spcBef>
            </a:pPr>
            <a:r>
              <a:rPr lang="pt-PT" sz="1400" b="1" i="1" dirty="0" err="1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November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2019 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" y="3206679"/>
            <a:ext cx="914399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indent="108000" algn="ctr" eaLnBrk="1" hangingPunct="1">
              <a:spcBef>
                <a:spcPts val="600"/>
              </a:spcBef>
            </a:pPr>
            <a:r>
              <a:rPr lang="pt-PT" b="1" dirty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Formação Adidos de Embaixadas </a:t>
            </a: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– 2019</a:t>
            </a:r>
          </a:p>
          <a:p>
            <a:pPr indent="108000" algn="ctr" eaLnBrk="1" hangingPunct="1">
              <a:spcBef>
                <a:spcPts val="600"/>
              </a:spcBef>
            </a:pPr>
            <a:r>
              <a:rPr lang="en-US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Portuguese embass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training – 2019</a:t>
            </a:r>
            <a:endParaRPr lang="pt-PT" sz="14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37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11560" y="836712"/>
            <a:ext cx="7614274" cy="360040"/>
          </a:xfrm>
        </p:spPr>
        <p:txBody>
          <a:bodyPr>
            <a:noAutofit/>
          </a:bodyPr>
          <a:lstStyle/>
          <a:p>
            <a:pPr algn="ctr">
              <a:spcBef>
                <a:spcPts val="600"/>
              </a:spcBef>
            </a:pPr>
            <a:r>
              <a:rPr lang="pt-PT" sz="1600" b="0" dirty="0">
                <a:solidFill>
                  <a:schemeClr val="tx1"/>
                </a:solidFill>
                <a:effectLst/>
              </a:rPr>
              <a:t>Pessoas ao serviço de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I&amp;D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 </a:t>
            </a:r>
            <a:r>
              <a:rPr lang="pt-PT" sz="1600" b="0" dirty="0" smtClean="0">
                <a:solidFill>
                  <a:schemeClr val="tx1"/>
                </a:solidFill>
                <a:effectLst/>
              </a:rPr>
              <a:t>(% 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emprego total; Portugal e UE28; 2009-2017</a:t>
            </a:r>
            <a:r>
              <a:rPr lang="pt-PT" sz="1600" b="0" dirty="0" smtClean="0">
                <a:solidFill>
                  <a:schemeClr val="tx1"/>
                </a:solidFill>
                <a:effectLst/>
              </a:rPr>
              <a:t>)</a:t>
            </a:r>
            <a:endParaRPr lang="pt-PT" sz="1600" b="0" dirty="0">
              <a:solidFill>
                <a:schemeClr val="tx1"/>
              </a:solidFill>
              <a:effectLst/>
            </a:endParaRP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34" y="1700808"/>
            <a:ext cx="7920000" cy="40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257962" y="6180112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dirty="0"/>
              <a:t>: GEE com base </a:t>
            </a:r>
            <a:r>
              <a:rPr lang="pt-PT" sz="900" dirty="0" smtClean="0"/>
              <a:t>no  </a:t>
            </a:r>
            <a:r>
              <a:rPr lang="pt-PT" sz="900" dirty="0"/>
              <a:t>Eurostat (código: </a:t>
            </a:r>
            <a:r>
              <a:rPr lang="pt-PT" sz="900" dirty="0" err="1"/>
              <a:t>rd_p_perslf</a:t>
            </a:r>
            <a:r>
              <a:rPr lang="pt-PT" sz="900" dirty="0"/>
              <a:t>); atualizado </a:t>
            </a:r>
            <a:r>
              <a:rPr lang="pt-PT" sz="900" dirty="0" smtClean="0"/>
              <a:t>em:26.06.2019</a:t>
            </a:r>
            <a:endParaRPr lang="pt-PT" sz="900" dirty="0"/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630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2844" y="1412776"/>
            <a:ext cx="7425580" cy="451520"/>
          </a:xfrm>
        </p:spPr>
        <p:txBody>
          <a:bodyPr>
            <a:noAutofit/>
          </a:bodyPr>
          <a:lstStyle/>
          <a:p>
            <a:r>
              <a:rPr lang="pt-PT" sz="1800" b="0" dirty="0">
                <a:solidFill>
                  <a:schemeClr val="tx1"/>
                </a:solidFill>
                <a:effectLst/>
              </a:rPr>
              <a:t>Despesa em </a:t>
            </a:r>
            <a:r>
              <a:rPr lang="pt-PT" sz="1800" b="0" dirty="0" err="1">
                <a:solidFill>
                  <a:schemeClr val="tx1"/>
                </a:solidFill>
                <a:effectLst/>
              </a:rPr>
              <a:t>I&amp;D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 (% do total), por setor de execução </a:t>
            </a:r>
            <a:r>
              <a:rPr lang="pt-PT" sz="1800" b="0" dirty="0" smtClean="0">
                <a:solidFill>
                  <a:schemeClr val="tx1"/>
                </a:solidFill>
                <a:effectLst/>
              </a:rPr>
              <a:t>(2017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) 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448" y="2492896"/>
            <a:ext cx="7920000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971600" y="6021288"/>
            <a:ext cx="76328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: </a:t>
            </a:r>
            <a:r>
              <a:rPr lang="pt-PT" sz="900" dirty="0"/>
              <a:t>GEE, com base em Eurostat (código: </a:t>
            </a:r>
            <a:r>
              <a:rPr lang="pt-PT" sz="900" dirty="0" err="1"/>
              <a:t>rd_e_gerdtot</a:t>
            </a:r>
            <a:r>
              <a:rPr lang="pt-PT" sz="900" dirty="0"/>
              <a:t>); </a:t>
            </a:r>
            <a:r>
              <a:rPr lang="pt-PT" sz="900" dirty="0" smtClean="0"/>
              <a:t>atualizado  </a:t>
            </a:r>
            <a:r>
              <a:rPr lang="pt-PT" sz="900" dirty="0"/>
              <a:t>em 21.06.2019</a:t>
            </a: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926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11560" y="980728"/>
            <a:ext cx="8229600" cy="360040"/>
          </a:xfrm>
        </p:spPr>
        <p:txBody>
          <a:bodyPr>
            <a:normAutofit/>
          </a:bodyPr>
          <a:lstStyle/>
          <a:p>
            <a:pPr algn="ctr">
              <a:spcBef>
                <a:spcPts val="600"/>
              </a:spcBef>
            </a:pPr>
            <a:r>
              <a:rPr lang="pt-PT" sz="1600" b="0" dirty="0" smtClean="0">
                <a:solidFill>
                  <a:schemeClr val="tx1"/>
                </a:solidFill>
                <a:effectLst/>
              </a:rPr>
              <a:t>Percentagem 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de Empresas inovadoras por dimensão das empresas (2016)</a:t>
            </a:r>
          </a:p>
        </p:txBody>
      </p:sp>
      <p:pic>
        <p:nvPicPr>
          <p:cNvPr id="1433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700808"/>
            <a:ext cx="7920000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971600" y="5877272"/>
            <a:ext cx="7200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dirty="0"/>
              <a:t>: Eurostat (código: inn_cis10_type); atualizado </a:t>
            </a:r>
            <a:r>
              <a:rPr lang="pt-PT" sz="900" dirty="0" smtClean="0"/>
              <a:t>em </a:t>
            </a:r>
            <a:r>
              <a:rPr lang="pt-PT" sz="900" dirty="0"/>
              <a:t>03.07.2019</a:t>
            </a: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7822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836713"/>
            <a:ext cx="9144000" cy="432048"/>
          </a:xfrm>
        </p:spPr>
        <p:txBody>
          <a:bodyPr>
            <a:noAutofit/>
          </a:bodyPr>
          <a:lstStyle/>
          <a:p>
            <a:pPr algn="ctr">
              <a:spcBef>
                <a:spcPts val="600"/>
              </a:spcBef>
            </a:pPr>
            <a:r>
              <a:rPr lang="pt-PT" sz="1600" b="0" dirty="0">
                <a:solidFill>
                  <a:schemeClr val="tx1"/>
                </a:solidFill>
                <a:effectLst/>
              </a:rPr>
              <a:t>Exportações de produtos de média e alta tecnologia (% total exportação produtos; </a:t>
            </a:r>
            <a:r>
              <a:rPr lang="pt-PT" sz="1600" b="0" dirty="0" smtClean="0">
                <a:solidFill>
                  <a:schemeClr val="tx1"/>
                </a:solidFill>
                <a:effectLst/>
              </a:rPr>
              <a:t>2008-17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)</a:t>
            </a:r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84784"/>
            <a:ext cx="8424936" cy="4807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139999" y="6291808"/>
            <a:ext cx="73448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900" dirty="0"/>
              <a:t>Fonte: European Innovation Scoreboard </a:t>
            </a:r>
            <a:r>
              <a:rPr lang="it-IT" sz="900" dirty="0" smtClean="0"/>
              <a:t> (2018), Comissão Europeia</a:t>
            </a:r>
            <a:endParaRPr lang="pt-PT" sz="900" dirty="0"/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8963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836712"/>
            <a:ext cx="9144000" cy="288032"/>
          </a:xfrm>
        </p:spPr>
        <p:txBody>
          <a:bodyPr>
            <a:normAutofit fontScale="90000"/>
          </a:bodyPr>
          <a:lstStyle/>
          <a:p>
            <a:pPr algn="ctr"/>
            <a:r>
              <a:rPr lang="pt-PT" sz="1800" b="0" dirty="0">
                <a:solidFill>
                  <a:schemeClr val="tx1"/>
                </a:solidFill>
                <a:effectLst/>
              </a:rPr>
              <a:t>Exportações de serviços de conhecimento intensivo (% total exportação de serviços</a:t>
            </a:r>
            <a:r>
              <a:rPr lang="pt-PT" sz="1800" b="0" dirty="0" smtClean="0">
                <a:solidFill>
                  <a:schemeClr val="tx1"/>
                </a:solidFill>
                <a:effectLst/>
              </a:rPr>
              <a:t>; 2008-17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)</a:t>
            </a:r>
          </a:p>
        </p:txBody>
      </p:sp>
      <p:pic>
        <p:nvPicPr>
          <p:cNvPr id="174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00808"/>
            <a:ext cx="8684831" cy="4176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115616" y="6206277"/>
            <a:ext cx="7128792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ctr">
              <a:lnSpc>
                <a:spcPct val="115000"/>
              </a:lnSpc>
              <a:spcAft>
                <a:spcPts val="300"/>
              </a:spcAft>
            </a:pPr>
            <a:r>
              <a:rPr lang="pt-PT" sz="900" b="1" dirty="0">
                <a:ea typeface="Calibri"/>
                <a:cs typeface="Times New Roman"/>
              </a:rPr>
              <a:t>Fonte:</a:t>
            </a:r>
            <a:r>
              <a:rPr lang="pt-PT" sz="900" dirty="0">
                <a:ea typeface="Calibri"/>
                <a:cs typeface="Times New Roman"/>
              </a:rPr>
              <a:t> </a:t>
            </a:r>
            <a:r>
              <a:rPr lang="pt-PT" sz="900" i="1" dirty="0" err="1">
                <a:ea typeface="Calibri"/>
                <a:cs typeface="Times New Roman"/>
              </a:rPr>
              <a:t>European</a:t>
            </a:r>
            <a:r>
              <a:rPr lang="pt-PT" sz="900" i="1" dirty="0">
                <a:ea typeface="Calibri"/>
                <a:cs typeface="Times New Roman"/>
              </a:rPr>
              <a:t> </a:t>
            </a:r>
            <a:r>
              <a:rPr lang="pt-PT" sz="900" i="1" dirty="0" err="1">
                <a:ea typeface="Calibri"/>
                <a:cs typeface="Times New Roman"/>
              </a:rPr>
              <a:t>Innovation</a:t>
            </a:r>
            <a:r>
              <a:rPr lang="pt-PT" sz="900" i="1" dirty="0">
                <a:ea typeface="Calibri"/>
                <a:cs typeface="Times New Roman"/>
              </a:rPr>
              <a:t> </a:t>
            </a:r>
            <a:r>
              <a:rPr lang="pt-PT" sz="900" i="1" dirty="0" err="1">
                <a:ea typeface="Calibri"/>
                <a:cs typeface="Times New Roman"/>
              </a:rPr>
              <a:t>Scoreboard</a:t>
            </a:r>
            <a:r>
              <a:rPr lang="pt-PT" sz="900" dirty="0">
                <a:ea typeface="Calibri"/>
                <a:cs typeface="Times New Roman"/>
              </a:rPr>
              <a:t> </a:t>
            </a:r>
            <a:r>
              <a:rPr lang="pt-PT" sz="900" dirty="0" smtClean="0">
                <a:ea typeface="Calibri"/>
                <a:cs typeface="Times New Roman"/>
              </a:rPr>
              <a:t> (2018), Comissão Europeia</a:t>
            </a:r>
            <a:endParaRPr lang="pt-PT" sz="900" dirty="0">
              <a:ea typeface="Calibri"/>
              <a:cs typeface="Times New Roman"/>
            </a:endParaRP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309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6769" y="980728"/>
            <a:ext cx="8886002" cy="36004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Digital 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Technology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 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Integration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 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Index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 (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DTI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) e Digital 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Transformation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 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Enablers´Index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 (</a:t>
            </a:r>
            <a:r>
              <a:rPr lang="pt-PT" sz="1500" b="0" dirty="0" err="1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DTEI</a:t>
            </a:r>
            <a: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  <a:t>) (Média UE-28)</a:t>
            </a:r>
            <a:br>
              <a:rPr lang="pt-PT" sz="1500" b="0" dirty="0">
                <a:ln w="1270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</a:rPr>
            </a:br>
            <a:endParaRPr lang="pt-PT" sz="1500" b="0" dirty="0">
              <a:solidFill>
                <a:schemeClr val="tx1"/>
              </a:solidFill>
              <a:effectLst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826443" y="6313065"/>
            <a:ext cx="73448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i="1" dirty="0"/>
              <a:t>: Digital </a:t>
            </a:r>
            <a:r>
              <a:rPr lang="pt-PT" sz="900" i="1" dirty="0" err="1"/>
              <a:t>Transformation</a:t>
            </a:r>
            <a:r>
              <a:rPr lang="pt-PT" sz="900" i="1" dirty="0"/>
              <a:t> </a:t>
            </a:r>
            <a:r>
              <a:rPr lang="pt-PT" sz="900" i="1" dirty="0" err="1" smtClean="0"/>
              <a:t>Scoreboard</a:t>
            </a:r>
            <a:r>
              <a:rPr lang="pt-PT" sz="900" dirty="0" smtClean="0"/>
              <a:t> (2019),  </a:t>
            </a:r>
            <a:r>
              <a:rPr lang="pt-PT" sz="900" dirty="0" err="1" smtClean="0"/>
              <a:t>EC</a:t>
            </a:r>
            <a:r>
              <a:rPr lang="pt-PT" sz="900" dirty="0"/>
              <a:t>, </a:t>
            </a:r>
            <a:r>
              <a:rPr lang="pt-PT" sz="900" dirty="0" err="1"/>
              <a:t>Directorate</a:t>
            </a:r>
            <a:r>
              <a:rPr lang="pt-PT" sz="900" dirty="0"/>
              <a:t>-General, </a:t>
            </a:r>
            <a:r>
              <a:rPr lang="pt-PT" sz="900" dirty="0" err="1"/>
              <a:t>Internal</a:t>
            </a:r>
            <a:r>
              <a:rPr lang="pt-PT" sz="900" dirty="0"/>
              <a:t> </a:t>
            </a:r>
            <a:r>
              <a:rPr lang="pt-PT" sz="900" dirty="0" err="1"/>
              <a:t>Market</a:t>
            </a:r>
            <a:r>
              <a:rPr lang="pt-PT" sz="900" dirty="0"/>
              <a:t>, </a:t>
            </a:r>
            <a:r>
              <a:rPr lang="pt-PT" sz="900" dirty="0" err="1"/>
              <a:t>Industry</a:t>
            </a:r>
            <a:r>
              <a:rPr lang="pt-PT" sz="900" dirty="0"/>
              <a:t>, </a:t>
            </a:r>
            <a:r>
              <a:rPr lang="pt-PT" sz="900" dirty="0" err="1"/>
              <a:t>Entrepreneurship</a:t>
            </a:r>
            <a:r>
              <a:rPr lang="pt-PT" sz="900" dirty="0"/>
              <a:t> </a:t>
            </a:r>
            <a:r>
              <a:rPr lang="pt-PT" sz="900" dirty="0" err="1"/>
              <a:t>and</a:t>
            </a:r>
            <a:r>
              <a:rPr lang="pt-PT" sz="900" dirty="0"/>
              <a:t> </a:t>
            </a:r>
            <a:r>
              <a:rPr lang="pt-PT" sz="900" dirty="0" err="1" smtClean="0"/>
              <a:t>SMEs</a:t>
            </a:r>
            <a:endParaRPr lang="pt-PT" sz="900" dirty="0"/>
          </a:p>
        </p:txBody>
      </p:sp>
      <p:pic>
        <p:nvPicPr>
          <p:cNvPr id="1843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2736"/>
            <a:ext cx="9144000" cy="526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1861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3875" y="980728"/>
            <a:ext cx="8229600" cy="363161"/>
          </a:xfrm>
        </p:spPr>
        <p:txBody>
          <a:bodyPr>
            <a:normAutofit fontScale="90000"/>
          </a:bodyPr>
          <a:lstStyle/>
          <a:p>
            <a:pPr algn="ctr">
              <a:spcBef>
                <a:spcPts val="600"/>
              </a:spcBef>
            </a:pPr>
            <a:r>
              <a:rPr lang="pt-PT" sz="2000" b="1" dirty="0">
                <a:solidFill>
                  <a:srgbClr val="365F91"/>
                </a:solidFill>
                <a:ea typeface="Calibri"/>
                <a:cs typeface="Times New Roman"/>
              </a:rPr>
              <a:t/>
            </a:r>
            <a:br>
              <a:rPr lang="pt-PT" sz="2000" b="1" dirty="0">
                <a:solidFill>
                  <a:srgbClr val="365F91"/>
                </a:solidFill>
                <a:ea typeface="Calibri"/>
                <a:cs typeface="Times New Roman"/>
              </a:rPr>
            </a:br>
            <a:r>
              <a:rPr lang="pt-PT" sz="1800" b="0" dirty="0" smtClean="0">
                <a:solidFill>
                  <a:schemeClr val="tx1"/>
                </a:solidFill>
                <a:effectLst/>
              </a:rPr>
              <a:t>IDES 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2019 </a:t>
            </a:r>
            <a:endParaRPr lang="pt-PT" sz="2000" b="0" dirty="0">
              <a:solidFill>
                <a:srgbClr val="365F91"/>
              </a:solidFill>
              <a:ea typeface="Calibri"/>
              <a:cs typeface="Times New Roman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38275" y="6237312"/>
            <a:ext cx="7200800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ctr">
              <a:lnSpc>
                <a:spcPct val="115000"/>
              </a:lnSpc>
              <a:spcAft>
                <a:spcPts val="0"/>
              </a:spcAft>
            </a:pPr>
            <a:r>
              <a:rPr lang="pt-PT" sz="900" b="1" dirty="0" smtClean="0">
                <a:ea typeface="Calibri"/>
                <a:cs typeface="Times New Roman"/>
              </a:rPr>
              <a:t>Fonte</a:t>
            </a:r>
            <a:r>
              <a:rPr lang="pt-PT" sz="900" b="1" dirty="0">
                <a:ea typeface="Calibri"/>
                <a:cs typeface="Times New Roman"/>
              </a:rPr>
              <a:t>:</a:t>
            </a:r>
            <a:r>
              <a:rPr lang="pt-PT" sz="900" dirty="0">
                <a:ea typeface="Calibri"/>
                <a:cs typeface="Times New Roman"/>
              </a:rPr>
              <a:t> Índice de Digitalidade da Economia e da Sociedade, </a:t>
            </a:r>
            <a:r>
              <a:rPr lang="pt-PT" sz="900" dirty="0" smtClean="0">
                <a:ea typeface="Calibri"/>
                <a:cs typeface="Times New Roman"/>
              </a:rPr>
              <a:t>2019</a:t>
            </a:r>
            <a:endParaRPr lang="pt-PT" sz="900" dirty="0">
              <a:ea typeface="Calibri"/>
              <a:cs typeface="Times New Roman"/>
            </a:endParaRP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331367"/>
            <a:ext cx="7632848" cy="1889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8344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908720"/>
            <a:ext cx="9144000" cy="288032"/>
          </a:xfrm>
        </p:spPr>
        <p:txBody>
          <a:bodyPr>
            <a:normAutofit fontScale="90000"/>
          </a:bodyPr>
          <a:lstStyle/>
          <a:p>
            <a:pPr algn="ctr">
              <a:spcBef>
                <a:spcPts val="600"/>
              </a:spcBef>
            </a:pPr>
            <a:r>
              <a:rPr lang="pt-PT" sz="1800" b="0" dirty="0">
                <a:solidFill>
                  <a:schemeClr val="tx1"/>
                </a:solidFill>
                <a:effectLst/>
              </a:rPr>
              <a:t>IDES 2019 – Dimensão Capital Humano</a:t>
            </a:r>
          </a:p>
        </p:txBody>
      </p:sp>
      <p:pic>
        <p:nvPicPr>
          <p:cNvPr id="21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4" y="1268760"/>
            <a:ext cx="8886002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259632" y="6309320"/>
            <a:ext cx="6552728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ctr">
              <a:lnSpc>
                <a:spcPct val="115000"/>
              </a:lnSpc>
              <a:spcAft>
                <a:spcPts val="0"/>
              </a:spcAft>
            </a:pPr>
            <a:r>
              <a:rPr lang="pt-PT" sz="900" b="1" dirty="0">
                <a:ea typeface="Calibri"/>
                <a:cs typeface="Times New Roman"/>
              </a:rPr>
              <a:t>Fonte: </a:t>
            </a:r>
            <a:r>
              <a:rPr lang="pt-PT" sz="900" dirty="0">
                <a:ea typeface="Calibri"/>
                <a:cs typeface="Arial"/>
              </a:rPr>
              <a:t>Índice de Digitalização da Economia e da </a:t>
            </a:r>
            <a:r>
              <a:rPr lang="pt-PT" sz="900" dirty="0" smtClean="0">
                <a:ea typeface="Calibri"/>
                <a:cs typeface="Arial"/>
              </a:rPr>
              <a:t>Sociedade (2019), </a:t>
            </a:r>
            <a:r>
              <a:rPr lang="pt-PT" sz="900" dirty="0">
                <a:ea typeface="Calibri"/>
                <a:cs typeface="Arial"/>
              </a:rPr>
              <a:t>Comissão Europeia </a:t>
            </a:r>
            <a:endParaRPr lang="pt-PT" sz="900" dirty="0">
              <a:ea typeface="Calibri"/>
              <a:cs typeface="Times New Roman"/>
            </a:endParaRP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38633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836712"/>
            <a:ext cx="8229600" cy="288032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IDES 2019 – Dimensão Utilização da Internet</a:t>
            </a:r>
          </a:p>
        </p:txBody>
      </p:sp>
      <p:pic>
        <p:nvPicPr>
          <p:cNvPr id="225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124743"/>
            <a:ext cx="9001000" cy="5159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971600" y="6284211"/>
            <a:ext cx="7416824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ctr">
              <a:lnSpc>
                <a:spcPct val="115000"/>
              </a:lnSpc>
            </a:pPr>
            <a:r>
              <a:rPr lang="pt-PT" sz="900" b="1" dirty="0">
                <a:ea typeface="Calibri"/>
                <a:cs typeface="Times New Roman"/>
              </a:rPr>
              <a:t>Fonte: </a:t>
            </a:r>
            <a:r>
              <a:rPr lang="pt-PT" sz="900" dirty="0">
                <a:ea typeface="Calibri"/>
                <a:cs typeface="Arial"/>
              </a:rPr>
              <a:t>Índice de Digitalização da Economia e da </a:t>
            </a:r>
            <a:r>
              <a:rPr lang="pt-PT" sz="900" dirty="0" smtClean="0">
                <a:ea typeface="Calibri"/>
                <a:cs typeface="Arial"/>
              </a:rPr>
              <a:t>Sociedade (2019), </a:t>
            </a:r>
            <a:r>
              <a:rPr lang="pt-PT" sz="900" dirty="0">
                <a:ea typeface="Calibri"/>
                <a:cs typeface="Arial"/>
              </a:rPr>
              <a:t>Comissão </a:t>
            </a:r>
            <a:r>
              <a:rPr lang="pt-PT" sz="900" dirty="0" smtClean="0">
                <a:ea typeface="Calibri"/>
                <a:cs typeface="Arial"/>
              </a:rPr>
              <a:t>Europeia</a:t>
            </a:r>
            <a:endParaRPr lang="pt-PT" sz="900" dirty="0">
              <a:ea typeface="Calibri"/>
              <a:cs typeface="Times New Roman"/>
            </a:endParaRP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652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908720"/>
            <a:ext cx="9144000" cy="216024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IDES 2019 – Dimensão Conetividade</a:t>
            </a:r>
          </a:p>
        </p:txBody>
      </p:sp>
      <p:pic>
        <p:nvPicPr>
          <p:cNvPr id="204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19" y="1052736"/>
            <a:ext cx="9252520" cy="519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10419" y="6245808"/>
            <a:ext cx="7776864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ctr">
              <a:lnSpc>
                <a:spcPct val="115000"/>
              </a:lnSpc>
              <a:spcAft>
                <a:spcPts val="0"/>
              </a:spcAft>
            </a:pPr>
            <a:r>
              <a:rPr lang="pt-PT" sz="900" b="1" dirty="0">
                <a:ea typeface="Calibri"/>
                <a:cs typeface="Arial"/>
              </a:rPr>
              <a:t>Fonte: </a:t>
            </a:r>
            <a:r>
              <a:rPr lang="pt-PT" sz="900" dirty="0">
                <a:ea typeface="Calibri"/>
                <a:cs typeface="Arial"/>
              </a:rPr>
              <a:t>Índice de Digitalização da Economia e da </a:t>
            </a:r>
            <a:r>
              <a:rPr lang="pt-PT" sz="900" dirty="0" smtClean="0">
                <a:ea typeface="Calibri"/>
                <a:cs typeface="Arial"/>
              </a:rPr>
              <a:t>Sociedade (2019), </a:t>
            </a:r>
            <a:r>
              <a:rPr lang="pt-PT" sz="900" dirty="0">
                <a:ea typeface="Calibri"/>
                <a:cs typeface="Arial"/>
              </a:rPr>
              <a:t>Comissão </a:t>
            </a:r>
            <a:r>
              <a:rPr lang="pt-PT" sz="900" dirty="0" smtClean="0">
                <a:ea typeface="Calibri"/>
                <a:cs typeface="Arial"/>
              </a:rPr>
              <a:t>Europeia</a:t>
            </a:r>
            <a:endParaRPr lang="pt-PT" sz="900" dirty="0">
              <a:ea typeface="Calibri"/>
              <a:cs typeface="Times New Roman"/>
            </a:endParaRP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3945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504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4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44137" y="2502304"/>
            <a:ext cx="802957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2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Inovação e Transformação Digital</a:t>
            </a:r>
            <a:endParaRPr lang="pt-PT" sz="3200" b="1" dirty="0">
              <a:ln>
                <a:solidFill>
                  <a:sysClr val="windowText" lastClr="000000"/>
                </a:solidFill>
              </a:ln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Estrutura Empresarial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1144137" y="3492109"/>
            <a:ext cx="7924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Innovation and Digital Transformation</a:t>
            </a:r>
            <a:endParaRPr lang="en-US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460675" y="2547079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1</a:t>
            </a:r>
            <a:endParaRPr lang="pt-PT" sz="2800" b="1" dirty="0"/>
          </a:p>
        </p:txBody>
      </p:sp>
      <p:sp>
        <p:nvSpPr>
          <p:cNvPr id="5" name="CaixaDeTexto 4"/>
          <p:cNvSpPr txBox="1"/>
          <p:nvPr/>
        </p:nvSpPr>
        <p:spPr>
          <a:xfrm>
            <a:off x="0" y="4962525"/>
            <a:ext cx="9144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b="1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Luís Melo Campos </a:t>
            </a:r>
            <a:r>
              <a:rPr lang="pt-PT" dirty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– Direção de Serviços de Análise Económica</a:t>
            </a:r>
          </a:p>
          <a:p>
            <a:pPr algn="r"/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  <a:hlinkClick r:id="rId7"/>
              </a:rPr>
              <a:t>luis.melocampos@gee.gov.pt</a:t>
            </a:r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 </a:t>
            </a:r>
            <a:endParaRPr lang="en-US" dirty="0">
              <a:solidFill>
                <a:srgbClr val="003964"/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0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291" y="836712"/>
            <a:ext cx="8229600" cy="288032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IDES 2019 – Dimensão Integração da Tecnologia Digital</a:t>
            </a:r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30" y="1156964"/>
            <a:ext cx="8993506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52" y="6225305"/>
            <a:ext cx="7993063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491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6856" y="908720"/>
            <a:ext cx="8229600" cy="346050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IDES 2018 – Dimensão Serviços Públicos Digitais</a:t>
            </a:r>
          </a:p>
        </p:txBody>
      </p:sp>
      <p:pic>
        <p:nvPicPr>
          <p:cNvPr id="24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61" y="1412776"/>
            <a:ext cx="8280920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683568" y="6237312"/>
            <a:ext cx="7992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>
                <a:ea typeface="Calibri"/>
                <a:cs typeface="Times New Roman"/>
              </a:rPr>
              <a:t>Fonte:</a:t>
            </a:r>
            <a:r>
              <a:rPr lang="pt-PT" sz="900" dirty="0">
                <a:ea typeface="Calibri"/>
                <a:cs typeface="Times New Roman"/>
              </a:rPr>
              <a:t> </a:t>
            </a:r>
            <a:r>
              <a:rPr lang="pt-PT" sz="900" dirty="0">
                <a:ea typeface="Calibri"/>
                <a:cs typeface="Arial"/>
              </a:rPr>
              <a:t>Índice de Digitalização da Economia e da </a:t>
            </a:r>
            <a:r>
              <a:rPr lang="pt-PT" sz="900" dirty="0" smtClean="0">
                <a:ea typeface="Calibri"/>
                <a:cs typeface="Arial"/>
              </a:rPr>
              <a:t>Sociedade (2019), </a:t>
            </a:r>
            <a:r>
              <a:rPr lang="pt-PT" sz="900" dirty="0">
                <a:ea typeface="Calibri"/>
                <a:cs typeface="Arial"/>
              </a:rPr>
              <a:t>Comissão </a:t>
            </a:r>
            <a:r>
              <a:rPr lang="pt-PT" sz="900" dirty="0" smtClean="0">
                <a:ea typeface="Calibri"/>
                <a:cs typeface="Arial"/>
              </a:rPr>
              <a:t>Europeia</a:t>
            </a:r>
            <a:endParaRPr lang="pt-PT" sz="900" dirty="0"/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Digital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491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2458" y="836712"/>
            <a:ext cx="8229600" cy="288032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Indicadores de Economia Circular</a:t>
            </a:r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052736"/>
            <a:ext cx="9361040" cy="5539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83568" y="6340826"/>
            <a:ext cx="7776864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0340" algn="ctr">
              <a:lnSpc>
                <a:spcPct val="115000"/>
              </a:lnSpc>
              <a:spcAft>
                <a:spcPts val="300"/>
              </a:spcAft>
            </a:pPr>
            <a:r>
              <a:rPr lang="pt-PT" sz="900" b="1" dirty="0">
                <a:ea typeface="Calibri"/>
                <a:cs typeface="Times New Roman"/>
              </a:rPr>
              <a:t>Fonte:</a:t>
            </a:r>
            <a:r>
              <a:rPr lang="pt-PT" sz="900" dirty="0">
                <a:ea typeface="Calibri"/>
                <a:cs typeface="Times New Roman"/>
              </a:rPr>
              <a:t> GEE, baseado no </a:t>
            </a:r>
            <a:r>
              <a:rPr lang="pt-PT" sz="900" i="1" dirty="0">
                <a:ea typeface="Calibri"/>
                <a:cs typeface="Times New Roman"/>
              </a:rPr>
              <a:t>Plano de Ação para a Economia </a:t>
            </a:r>
            <a:r>
              <a:rPr lang="pt-PT" sz="900" i="1" dirty="0" smtClean="0">
                <a:ea typeface="Calibri"/>
                <a:cs typeface="Times New Roman"/>
              </a:rPr>
              <a:t>Circular</a:t>
            </a:r>
            <a:r>
              <a:rPr lang="pt-PT" sz="900" dirty="0" smtClean="0">
                <a:ea typeface="Calibri"/>
                <a:cs typeface="Times New Roman"/>
              </a:rPr>
              <a:t>, </a:t>
            </a:r>
            <a:r>
              <a:rPr lang="pt-PT" sz="900" i="1" dirty="0">
                <a:ea typeface="Calibri"/>
                <a:cs typeface="Times New Roman"/>
              </a:rPr>
              <a:t>Resolução do Conselho de Ministros n.º 190-A/2017 </a:t>
            </a:r>
            <a:r>
              <a:rPr lang="pt-PT" sz="900" dirty="0">
                <a:ea typeface="Calibri"/>
                <a:cs typeface="Times New Roman"/>
              </a:rPr>
              <a:t>e </a:t>
            </a:r>
            <a:r>
              <a:rPr lang="pt-PT" sz="900" dirty="0" smtClean="0">
                <a:ea typeface="Calibri"/>
                <a:cs typeface="Times New Roman"/>
              </a:rPr>
              <a:t> </a:t>
            </a:r>
            <a:r>
              <a:rPr lang="pt-PT" sz="900" dirty="0">
                <a:ea typeface="Calibri"/>
                <a:cs typeface="Times New Roman"/>
              </a:rPr>
              <a:t>Eurostat, 2019</a:t>
            </a: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Circular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9372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274042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Evolução da Produtividade dos Recursos (Portugal e UE28; 2009-2018)</a:t>
            </a:r>
          </a:p>
        </p:txBody>
      </p:sp>
      <p:pic>
        <p:nvPicPr>
          <p:cNvPr id="266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84784"/>
            <a:ext cx="8006605" cy="4320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25277" y="6309320"/>
            <a:ext cx="7920880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algn="ctr">
              <a:lnSpc>
                <a:spcPct val="115000"/>
              </a:lnSpc>
              <a:spcAft>
                <a:spcPts val="600"/>
              </a:spcAft>
            </a:pPr>
            <a:r>
              <a:rPr lang="pt-PT" sz="900" b="1" dirty="0">
                <a:ea typeface="Calibri"/>
                <a:cs typeface="Times New Roman"/>
              </a:rPr>
              <a:t>Fonte</a:t>
            </a:r>
            <a:r>
              <a:rPr lang="pt-PT" sz="900" dirty="0">
                <a:ea typeface="Calibri"/>
                <a:cs typeface="Times New Roman"/>
              </a:rPr>
              <a:t>: Eurostat (Código: </a:t>
            </a:r>
            <a:r>
              <a:rPr lang="pt-PT" sz="900" dirty="0" err="1">
                <a:ea typeface="Calibri"/>
                <a:cs typeface="Times New Roman"/>
              </a:rPr>
              <a:t>env_ac_rp</a:t>
            </a:r>
            <a:r>
              <a:rPr lang="pt-PT" sz="900" dirty="0">
                <a:ea typeface="Calibri"/>
                <a:cs typeface="Times New Roman"/>
              </a:rPr>
              <a:t>, atualizado em 17.10.2019)</a:t>
            </a:r>
          </a:p>
        </p:txBody>
      </p:sp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Circular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8556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7220" y="836712"/>
            <a:ext cx="8229600" cy="288032"/>
          </a:xfrm>
        </p:spPr>
        <p:txBody>
          <a:bodyPr>
            <a:noAutofit/>
          </a:bodyPr>
          <a:lstStyle/>
          <a:p>
            <a:pPr indent="180340" algn="ctr">
              <a:spcBef>
                <a:spcPts val="600"/>
              </a:spcBef>
            </a:pPr>
            <a:r>
              <a:rPr lang="pt-PT" sz="1600" b="0" dirty="0">
                <a:solidFill>
                  <a:schemeClr val="tx1"/>
                </a:solidFill>
                <a:effectLst/>
              </a:rPr>
              <a:t>Índice de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Eco-Inovação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 </a:t>
            </a:r>
            <a:r>
              <a:rPr lang="pt-PT" sz="1600" b="0" dirty="0" smtClean="0">
                <a:solidFill>
                  <a:schemeClr val="tx1"/>
                </a:solidFill>
                <a:effectLst/>
              </a:rPr>
              <a:t>(2013-2017)</a:t>
            </a:r>
            <a:endParaRPr lang="pt-PT" sz="1600" b="0" dirty="0">
              <a:solidFill>
                <a:schemeClr val="tx1"/>
              </a:solidFill>
              <a:effectLst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47664" y="6300060"/>
            <a:ext cx="6408712" cy="251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0340" algn="ctr">
              <a:lnSpc>
                <a:spcPct val="115000"/>
              </a:lnSpc>
              <a:spcAft>
                <a:spcPts val="300"/>
              </a:spcAft>
            </a:pPr>
            <a:r>
              <a:rPr lang="pt-PT" sz="900" b="1" dirty="0"/>
              <a:t>Fonte</a:t>
            </a:r>
            <a:r>
              <a:rPr lang="pt-PT" sz="900" dirty="0"/>
              <a:t>: Eurostat (código t2020_rt200; extraído em 14.10.2019</a:t>
            </a:r>
            <a:endParaRPr lang="pt-PT" sz="900" dirty="0">
              <a:ea typeface="Calibri"/>
              <a:cs typeface="Times New Roman"/>
            </a:endParaRPr>
          </a:p>
        </p:txBody>
      </p:sp>
      <p:sp>
        <p:nvSpPr>
          <p:cNvPr id="7" name="Rectângulo 6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Circular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8195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4" y="1124744"/>
            <a:ext cx="8813994" cy="511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5720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836712"/>
            <a:ext cx="8229600" cy="288032"/>
          </a:xfrm>
        </p:spPr>
        <p:txBody>
          <a:bodyPr>
            <a:normAutofit fontScale="90000"/>
          </a:bodyPr>
          <a:lstStyle/>
          <a:p>
            <a:pPr algn="ctr">
              <a:spcBef>
                <a:spcPts val="0"/>
              </a:spcBef>
            </a:pPr>
            <a:r>
              <a:rPr lang="pt-PT" sz="1800" b="0" dirty="0">
                <a:solidFill>
                  <a:schemeClr val="tx1"/>
                </a:solidFill>
                <a:effectLst/>
              </a:rPr>
              <a:t>Dimensões do Índice de </a:t>
            </a:r>
            <a:r>
              <a:rPr lang="pt-PT" sz="1800" b="0" dirty="0" err="1">
                <a:solidFill>
                  <a:schemeClr val="tx1"/>
                </a:solidFill>
                <a:effectLst/>
              </a:rPr>
              <a:t>Eco-Inovação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 (2016-2018)</a:t>
            </a:r>
          </a:p>
        </p:txBody>
      </p:sp>
      <p:pic>
        <p:nvPicPr>
          <p:cNvPr id="296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7" y="1052736"/>
            <a:ext cx="9108504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conomia Circular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737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19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52736"/>
            <a:ext cx="8712968" cy="54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Medidas de Politica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224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29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56" y="908720"/>
            <a:ext cx="8604424" cy="5544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Medidas de Politica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162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40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08720"/>
            <a:ext cx="8064896" cy="5544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ângulo 5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Medidas de Politica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258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6443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8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5276" y="1190625"/>
            <a:ext cx="849630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Calibri"/>
              </a:rPr>
              <a:t>Índice</a:t>
            </a:r>
          </a:p>
          <a:p>
            <a:endParaRPr lang="pt-PT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Inovação e I&amp;D </a:t>
            </a:r>
          </a:p>
          <a:p>
            <a:pPr marL="342900" indent="-342900">
              <a:buFont typeface="+mj-lt"/>
              <a:buAutoNum type="arabicPeriod"/>
            </a:pP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Economia Digital</a:t>
            </a: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Economia Circular</a:t>
            </a:r>
          </a:p>
          <a:p>
            <a:pPr marL="342900" indent="-342900">
              <a:buFont typeface="+mj-lt"/>
              <a:buAutoNum type="arabicPeriod"/>
            </a:pP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Medidas de Politica</a:t>
            </a: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543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11162" y="836712"/>
            <a:ext cx="8321675" cy="288032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Painel Europeu de Inovação 2018 (UE </a:t>
            </a:r>
            <a:r>
              <a:rPr lang="pt-PT" sz="1600" b="0" dirty="0" smtClean="0">
                <a:solidFill>
                  <a:schemeClr val="tx1"/>
                </a:solidFill>
                <a:effectLst/>
              </a:rPr>
              <a:t>2010=100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)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411163" y="6322591"/>
            <a:ext cx="8321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dirty="0"/>
              <a:t>: GEE, baseado </a:t>
            </a:r>
            <a:r>
              <a:rPr lang="pt-PT" sz="900" dirty="0" smtClean="0"/>
              <a:t>no </a:t>
            </a:r>
            <a:r>
              <a:rPr lang="pt-PT" sz="900" i="1" dirty="0" err="1"/>
              <a:t>European</a:t>
            </a:r>
            <a:r>
              <a:rPr lang="pt-PT" sz="900" i="1" dirty="0"/>
              <a:t> </a:t>
            </a:r>
            <a:r>
              <a:rPr lang="pt-PT" sz="900" i="1" dirty="0" err="1"/>
              <a:t>Innovation</a:t>
            </a:r>
            <a:r>
              <a:rPr lang="pt-PT" sz="900" i="1" dirty="0"/>
              <a:t> </a:t>
            </a:r>
            <a:r>
              <a:rPr lang="pt-PT" sz="900" i="1" dirty="0" err="1"/>
              <a:t>Scoreboard</a:t>
            </a:r>
            <a:r>
              <a:rPr lang="pt-PT" sz="900" i="1" dirty="0"/>
              <a:t> </a:t>
            </a:r>
            <a:r>
              <a:rPr lang="pt-PT" sz="900" dirty="0" smtClean="0"/>
              <a:t>, </a:t>
            </a:r>
            <a:r>
              <a:rPr lang="pt-PT" sz="900" dirty="0"/>
              <a:t>Comissão </a:t>
            </a:r>
            <a:r>
              <a:rPr lang="pt-PT" sz="900" dirty="0" smtClean="0"/>
              <a:t>Europeia (2018) </a:t>
            </a:r>
            <a:endParaRPr lang="pt-PT" sz="900" dirty="0"/>
          </a:p>
        </p:txBody>
      </p:sp>
      <p:sp>
        <p:nvSpPr>
          <p:cNvPr id="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819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980728"/>
            <a:ext cx="9361040" cy="5572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850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3568" y="764705"/>
            <a:ext cx="7772400" cy="360040"/>
          </a:xfrm>
        </p:spPr>
        <p:txBody>
          <a:bodyPr>
            <a:normAutofit fontScale="90000"/>
          </a:bodyPr>
          <a:lstStyle/>
          <a:p>
            <a:pPr algn="ctr"/>
            <a:r>
              <a:rPr lang="pt-PT" sz="1800" b="0" dirty="0">
                <a:solidFill>
                  <a:schemeClr val="tx1"/>
                </a:solidFill>
                <a:effectLst/>
              </a:rPr>
              <a:t>Portugal no Global </a:t>
            </a:r>
            <a:r>
              <a:rPr lang="pt-PT" sz="1800" b="0" dirty="0" err="1">
                <a:solidFill>
                  <a:schemeClr val="tx1"/>
                </a:solidFill>
                <a:effectLst/>
              </a:rPr>
              <a:t>Competitiveness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 </a:t>
            </a:r>
            <a:r>
              <a:rPr lang="pt-PT" sz="1800" b="0" dirty="0" err="1">
                <a:solidFill>
                  <a:schemeClr val="tx1"/>
                </a:solidFill>
                <a:effectLst/>
              </a:rPr>
              <a:t>Index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, 2019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83568" y="1412775"/>
            <a:ext cx="7848872" cy="4320481"/>
          </a:xfrm>
        </p:spPr>
        <p:txBody>
          <a:bodyPr/>
          <a:lstStyle/>
          <a:p>
            <a:endParaRPr lang="pt-PT" dirty="0" smtClean="0"/>
          </a:p>
          <a:p>
            <a:endParaRPr lang="pt-P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4744"/>
            <a:ext cx="9144000" cy="523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2483768" y="6361781"/>
            <a:ext cx="47525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Fonte:</a:t>
            </a:r>
            <a:r>
              <a:rPr lang="en-US" sz="900" dirty="0"/>
              <a:t> </a:t>
            </a:r>
            <a:r>
              <a:rPr lang="en-US" sz="900" i="1" dirty="0"/>
              <a:t>Global Competitiveness Report</a:t>
            </a:r>
            <a:r>
              <a:rPr lang="en-US" sz="900" dirty="0"/>
              <a:t> (2019), World </a:t>
            </a:r>
            <a:r>
              <a:rPr lang="en-US" sz="900" dirty="0" smtClean="0"/>
              <a:t>Economic Forum</a:t>
            </a:r>
            <a:endParaRPr lang="pt-PT" sz="900" dirty="0"/>
          </a:p>
        </p:txBody>
      </p:sp>
      <p:sp>
        <p:nvSpPr>
          <p:cNvPr id="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955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83568" y="808560"/>
            <a:ext cx="7925469" cy="316184"/>
          </a:xfrm>
        </p:spPr>
        <p:txBody>
          <a:bodyPr>
            <a:no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Portugal no pilar Capacidade de Inovação Global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Competitiveness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Index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 (2019)</a:t>
            </a: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437953"/>
            <a:ext cx="9108504" cy="4914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11560" y="6352331"/>
            <a:ext cx="79208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Fonte:</a:t>
            </a:r>
            <a:r>
              <a:rPr lang="en-US" sz="900" dirty="0"/>
              <a:t> </a:t>
            </a:r>
            <a:r>
              <a:rPr lang="en-US" sz="900" i="1" dirty="0"/>
              <a:t>Global Competitiveness Report</a:t>
            </a:r>
            <a:r>
              <a:rPr lang="en-US" sz="900" dirty="0"/>
              <a:t>, 2019, World Economic Forum</a:t>
            </a:r>
            <a:endParaRPr lang="pt-PT" sz="9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052736"/>
            <a:ext cx="910850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569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2392" y="764704"/>
            <a:ext cx="8003232" cy="360040"/>
          </a:xfrm>
        </p:spPr>
        <p:txBody>
          <a:bodyPr>
            <a:normAutofit fontScale="90000"/>
          </a:bodyPr>
          <a:lstStyle/>
          <a:p>
            <a:pPr algn="ctr"/>
            <a:r>
              <a:rPr lang="pt-PT" sz="1800" b="0" dirty="0">
                <a:solidFill>
                  <a:schemeClr val="tx1"/>
                </a:solidFill>
                <a:effectLst/>
              </a:rPr>
              <a:t>Intensidade em </a:t>
            </a:r>
            <a:r>
              <a:rPr lang="pt-PT" sz="1800" b="0" dirty="0" err="1">
                <a:solidFill>
                  <a:schemeClr val="tx1"/>
                </a:solidFill>
                <a:effectLst/>
              </a:rPr>
              <a:t>I&amp;D</a:t>
            </a:r>
            <a:r>
              <a:rPr lang="pt-PT" sz="1800" b="0" dirty="0">
                <a:solidFill>
                  <a:schemeClr val="tx1"/>
                </a:solidFill>
                <a:effectLst/>
              </a:rPr>
              <a:t> (% do PIB; 2008-2017)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83568" y="6381328"/>
            <a:ext cx="79208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900" b="1" kern="0" dirty="0">
                <a:solidFill>
                  <a:sysClr val="windowText" lastClr="000000"/>
                </a:solidFill>
              </a:rPr>
              <a:t>Fonte: </a:t>
            </a:r>
            <a:r>
              <a:rPr lang="pt-PT" sz="900" kern="0" dirty="0">
                <a:solidFill>
                  <a:sysClr val="windowText" lastClr="000000"/>
                </a:solidFill>
              </a:rPr>
              <a:t>Eurostat (código: </a:t>
            </a:r>
            <a:r>
              <a:rPr lang="pt-PT" sz="900" kern="0" dirty="0" err="1">
                <a:solidFill>
                  <a:sysClr val="windowText" lastClr="000000"/>
                </a:solidFill>
              </a:rPr>
              <a:t>rd_e_gerdact</a:t>
            </a:r>
            <a:r>
              <a:rPr lang="pt-PT" sz="900" kern="0" dirty="0">
                <a:solidFill>
                  <a:sysClr val="windowText" lastClr="000000"/>
                </a:solidFill>
              </a:rPr>
              <a:t>); atualizado em 21.06.2019</a:t>
            </a: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77" y="1052736"/>
            <a:ext cx="9116923" cy="5328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3242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3224" y="836712"/>
            <a:ext cx="8229600" cy="288032"/>
          </a:xfrm>
        </p:spPr>
        <p:txBody>
          <a:bodyPr>
            <a:normAutofit fontScale="90000"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Publicações científicas indexadas no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Scopus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 (2012-2017; por milhão de habitantes)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547664" y="6208851"/>
            <a:ext cx="6480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dirty="0"/>
              <a:t>: DGEEC - Produção Científica Portuguesa</a:t>
            </a:r>
          </a:p>
          <a:p>
            <a:pPr algn="ctr"/>
            <a:r>
              <a:rPr lang="pt-PT" sz="900" b="1" dirty="0"/>
              <a:t>Nota</a:t>
            </a:r>
            <a:r>
              <a:rPr lang="pt-PT" sz="900" dirty="0"/>
              <a:t>: </a:t>
            </a:r>
            <a:r>
              <a:rPr lang="pt-PT" sz="900" dirty="0" err="1"/>
              <a:t>SciVal</a:t>
            </a:r>
            <a:r>
              <a:rPr lang="pt-PT" sz="900" dirty="0"/>
              <a:t>™ </a:t>
            </a:r>
            <a:r>
              <a:rPr lang="pt-PT" sz="900" dirty="0" err="1"/>
              <a:t>database</a:t>
            </a:r>
            <a:r>
              <a:rPr lang="pt-PT" sz="900" dirty="0"/>
              <a:t>, Elsevier </a:t>
            </a:r>
            <a:r>
              <a:rPr lang="pt-PT" sz="900" dirty="0" err="1"/>
              <a:t>B.V</a:t>
            </a:r>
            <a:r>
              <a:rPr lang="pt-PT" sz="900" dirty="0"/>
              <a:t>.; http://www.scival.com, em 29-11-2018; inclui </a:t>
            </a:r>
            <a:r>
              <a:rPr lang="pt-PT" sz="900" i="1" dirty="0" err="1"/>
              <a:t>articles</a:t>
            </a:r>
            <a:r>
              <a:rPr lang="pt-PT" sz="900" i="1" dirty="0"/>
              <a:t>, </a:t>
            </a:r>
            <a:r>
              <a:rPr lang="pt-PT" sz="900" i="1" dirty="0" err="1"/>
              <a:t>reviews</a:t>
            </a:r>
            <a:r>
              <a:rPr lang="pt-PT" sz="900" i="1" dirty="0"/>
              <a:t> e </a:t>
            </a:r>
            <a:r>
              <a:rPr lang="pt-PT" sz="900" i="1" dirty="0" err="1"/>
              <a:t>conference</a:t>
            </a:r>
            <a:r>
              <a:rPr lang="pt-PT" sz="900" i="1" dirty="0"/>
              <a:t> </a:t>
            </a:r>
            <a:r>
              <a:rPr lang="pt-PT" sz="900" i="1" dirty="0" err="1"/>
              <a:t>papers</a:t>
            </a:r>
            <a:endParaRPr lang="pt-PT" sz="900" i="1" dirty="0"/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4744"/>
            <a:ext cx="9144000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1265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836712"/>
            <a:ext cx="8712968" cy="648072"/>
          </a:xfrm>
        </p:spPr>
        <p:txBody>
          <a:bodyPr>
            <a:normAutofit/>
          </a:bodyPr>
          <a:lstStyle/>
          <a:p>
            <a:pPr algn="ctr"/>
            <a:r>
              <a:rPr lang="pt-PT" sz="1600" b="0" dirty="0">
                <a:solidFill>
                  <a:schemeClr val="tx1"/>
                </a:solidFill>
                <a:effectLst/>
              </a:rPr>
              <a:t>Taxa de crescimento médio anual (2007-2017) de publicações indexadas no </a:t>
            </a:r>
            <a:r>
              <a:rPr lang="pt-PT" sz="1600" b="0" dirty="0" err="1">
                <a:solidFill>
                  <a:schemeClr val="tx1"/>
                </a:solidFill>
                <a:effectLst/>
              </a:rPr>
              <a:t>Scopus</a:t>
            </a:r>
            <a:r>
              <a:rPr lang="pt-PT" sz="1600" b="0" dirty="0">
                <a:solidFill>
                  <a:schemeClr val="tx1"/>
                </a:solidFill>
                <a:effectLst/>
              </a:rPr>
              <a:t>, por milhão de habitante na União Europeia </a:t>
            </a:r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628800"/>
            <a:ext cx="8077592" cy="4320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 flipH="1">
            <a:off x="1048360" y="6150560"/>
            <a:ext cx="7488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900" b="1" dirty="0"/>
              <a:t>Fonte</a:t>
            </a:r>
            <a:r>
              <a:rPr lang="pt-PT" sz="900" dirty="0"/>
              <a:t>: DGEEC - Produção Científica Portuguesa</a:t>
            </a:r>
          </a:p>
          <a:p>
            <a:pPr algn="ctr"/>
            <a:r>
              <a:rPr lang="pt-PT" sz="900" b="1" dirty="0"/>
              <a:t>Nota</a:t>
            </a:r>
            <a:r>
              <a:rPr lang="pt-PT" sz="900" dirty="0"/>
              <a:t>: </a:t>
            </a:r>
            <a:r>
              <a:rPr lang="pt-PT" sz="900" dirty="0" err="1"/>
              <a:t>SciVal</a:t>
            </a:r>
            <a:r>
              <a:rPr lang="pt-PT" sz="900" dirty="0"/>
              <a:t>™ </a:t>
            </a:r>
            <a:r>
              <a:rPr lang="pt-PT" sz="900" dirty="0" err="1"/>
              <a:t>database</a:t>
            </a:r>
            <a:r>
              <a:rPr lang="pt-PT" sz="900" dirty="0"/>
              <a:t>, Elsevier </a:t>
            </a:r>
            <a:r>
              <a:rPr lang="pt-PT" sz="900" dirty="0" err="1"/>
              <a:t>B.V</a:t>
            </a:r>
            <a:r>
              <a:rPr lang="pt-PT" sz="900" dirty="0"/>
              <a:t>., http://www.scival.com (29-11-2018); inclui </a:t>
            </a:r>
            <a:r>
              <a:rPr lang="pt-PT" sz="900" i="1" dirty="0" err="1"/>
              <a:t>articles</a:t>
            </a:r>
            <a:r>
              <a:rPr lang="pt-PT" sz="900" i="1" dirty="0"/>
              <a:t>, </a:t>
            </a:r>
            <a:r>
              <a:rPr lang="pt-PT" sz="900" i="1" dirty="0" err="1"/>
              <a:t>reviews</a:t>
            </a:r>
            <a:r>
              <a:rPr lang="pt-PT" sz="900" i="1" dirty="0"/>
              <a:t> e </a:t>
            </a:r>
            <a:r>
              <a:rPr lang="pt-PT" sz="900" i="1" dirty="0" err="1"/>
              <a:t>conference</a:t>
            </a:r>
            <a:r>
              <a:rPr lang="pt-PT" sz="900" i="1" dirty="0"/>
              <a:t> </a:t>
            </a:r>
            <a:r>
              <a:rPr lang="pt-PT" sz="900" i="1" dirty="0" err="1"/>
              <a:t>papers</a:t>
            </a:r>
            <a:r>
              <a:rPr lang="pt-PT" sz="900" dirty="0"/>
              <a:t>.</a:t>
            </a:r>
          </a:p>
        </p:txBody>
      </p:sp>
      <p:sp>
        <p:nvSpPr>
          <p:cNvPr id="5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Inovação e I&amp;D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997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.%#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1a&quot; g=&quot;14&quot; b=&quot;8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delo de apresentaçã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1859868[[fn=Térmico]]</Template>
  <TotalTime>47284</TotalTime>
  <Words>845</Words>
  <Application>Microsoft Office PowerPoint</Application>
  <PresentationFormat>Apresentação no Ecrã (4:3)</PresentationFormat>
  <Paragraphs>140</Paragraphs>
  <Slides>28</Slides>
  <Notes>28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28</vt:i4>
      </vt:variant>
    </vt:vector>
  </HeadingPairs>
  <TitlesOfParts>
    <vt:vector size="32" baseType="lpstr">
      <vt:lpstr>térmico</vt:lpstr>
      <vt:lpstr>Modelo de apresentação personalizado</vt:lpstr>
      <vt:lpstr>2_térmico</vt:lpstr>
      <vt:lpstr>Slide do think-cell</vt:lpstr>
      <vt:lpstr>Apresentação do PowerPoint</vt:lpstr>
      <vt:lpstr>Apresentação do PowerPoint</vt:lpstr>
      <vt:lpstr>Apresentação do PowerPoint</vt:lpstr>
      <vt:lpstr>Painel Europeu de Inovação 2018 (UE 2010=100)</vt:lpstr>
      <vt:lpstr>Portugal no Global Competitiveness Index, 2019</vt:lpstr>
      <vt:lpstr>Portugal no pilar Capacidade de Inovação Global Competitiveness Index (2019)</vt:lpstr>
      <vt:lpstr>Intensidade em I&amp;D (% do PIB; 2008-2017)</vt:lpstr>
      <vt:lpstr>Publicações científicas indexadas no Scopus (2012-2017; por milhão de habitantes)</vt:lpstr>
      <vt:lpstr>Taxa de crescimento médio anual (2007-2017) de publicações indexadas no Scopus, por milhão de habitante na União Europeia </vt:lpstr>
      <vt:lpstr>Pessoas ao serviço de I&amp;D (% emprego total; Portugal e UE28; 2009-2017)</vt:lpstr>
      <vt:lpstr>Despesa em I&amp;D (% do total), por setor de execução (2017) </vt:lpstr>
      <vt:lpstr>Percentagem de Empresas inovadoras por dimensão das empresas (2016)</vt:lpstr>
      <vt:lpstr>Exportações de produtos de média e alta tecnologia (% total exportação produtos; 2008-17)</vt:lpstr>
      <vt:lpstr>Exportações de serviços de conhecimento intensivo (% total exportação de serviços; 2008-17)</vt:lpstr>
      <vt:lpstr>Digital Technology Integration Index (DTI) e Digital Transformation Enablers´Index (DTEI) (Média UE-28) </vt:lpstr>
      <vt:lpstr> IDES 2019 </vt:lpstr>
      <vt:lpstr>IDES 2019 – Dimensão Capital Humano</vt:lpstr>
      <vt:lpstr>IDES 2019 – Dimensão Utilização da Internet</vt:lpstr>
      <vt:lpstr>IDES 2019 – Dimensão Conetividade</vt:lpstr>
      <vt:lpstr>IDES 2019 – Dimensão Integração da Tecnologia Digital</vt:lpstr>
      <vt:lpstr>IDES 2018 – Dimensão Serviços Públicos Digitais</vt:lpstr>
      <vt:lpstr>Indicadores de Economia Circular</vt:lpstr>
      <vt:lpstr>Evolução da Produtividade dos Recursos (Portugal e UE28; 2009-2018)</vt:lpstr>
      <vt:lpstr>Índice de Eco-Inovação (2013-2017)</vt:lpstr>
      <vt:lpstr>Dimensões do Índice de Eco-Inovação (2016-2018)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(GEE) Ricardo Alves</dc:creator>
  <cp:lastModifiedBy>(GEE) Luís Melo Campos</cp:lastModifiedBy>
  <cp:revision>3533</cp:revision>
  <cp:lastPrinted>2019-09-05T10:35:48Z</cp:lastPrinted>
  <dcterms:created xsi:type="dcterms:W3CDTF">2012-03-22T09:12:20Z</dcterms:created>
  <dcterms:modified xsi:type="dcterms:W3CDTF">2019-11-05T11:32:28Z</dcterms:modified>
</cp:coreProperties>
</file>